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61" r:id="rId5"/>
    <p:sldId id="259" r:id="rId6"/>
    <p:sldId id="260" r:id="rId7"/>
  </p:sldIdLst>
  <p:sldSz cx="9144000" cy="6858000" type="screen4x3"/>
  <p:notesSz cx="6858000" cy="9144000"/>
  <p:custDataLst>
    <p:tags r:id="rId8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5" d="100"/>
          <a:sy n="65" d="100"/>
        </p:scale>
        <p:origin x="-1536" y="-1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16/9/2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16/9/2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16/9/2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16/9/2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16/9/2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16/9/25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16/9/25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16/9/25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16/9/25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16/9/25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16/9/25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3668533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0820CF-B880-4189-942D-D702A7CBA730}" type="datetimeFigureOut">
              <a:rPr lang="zh-CN" altLang="en-US" smtClean="0"/>
              <a:t>2016/9/2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42710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/>
        </p:nvSpPr>
        <p:spPr>
          <a:xfrm>
            <a:off x="-7016" y="880197"/>
            <a:ext cx="9144000" cy="242088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/>
          <p:cNvGrpSpPr/>
          <p:nvPr/>
        </p:nvGrpSpPr>
        <p:grpSpPr>
          <a:xfrm>
            <a:off x="52427" y="980728"/>
            <a:ext cx="2647365" cy="1676092"/>
            <a:chOff x="827584" y="754374"/>
            <a:chExt cx="4224537" cy="2674626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7584" y="754374"/>
              <a:ext cx="4224537" cy="2674626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/>
          </p:nvSpPr>
          <p:spPr>
            <a:xfrm rot="19895389">
              <a:off x="876992" y="1880455"/>
              <a:ext cx="2827121" cy="92333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prstTxWarp prst="textCurveUp">
                <a:avLst/>
              </a:prstTxWarp>
              <a:spAutoFit/>
              <a:scene3d>
                <a:camera prst="orthographicFront"/>
                <a:lightRig rig="glow" dir="tl">
                  <a:rot lat="0" lon="0" rev="5400000"/>
                </a:lightRig>
              </a:scene3d>
              <a:sp3d contourW="12700">
                <a:bevelT w="25400" h="25400"/>
                <a:contourClr>
                  <a:schemeClr val="accent6">
                    <a:shade val="73000"/>
                  </a:schemeClr>
                </a:contourClr>
              </a:sp3d>
            </a:bodyPr>
            <a:lstStyle/>
            <a:p>
              <a:pPr algn="ctr"/>
              <a:r>
                <a:rPr lang="en-US" sz="5400" b="1" cap="none" spc="0" dirty="0" smtClean="0">
                  <a:ln w="11430"/>
                  <a:gradFill>
                    <a:gsLst>
                      <a:gs pos="0">
                        <a:schemeClr val="accent6">
                          <a:tint val="90000"/>
                          <a:satMod val="120000"/>
                        </a:schemeClr>
                      </a:gs>
                      <a:gs pos="25000">
                        <a:schemeClr val="accent6">
                          <a:tint val="93000"/>
                          <a:satMod val="120000"/>
                        </a:schemeClr>
                      </a:gs>
                      <a:gs pos="50000">
                        <a:schemeClr val="accent6">
                          <a:shade val="89000"/>
                          <a:satMod val="110000"/>
                        </a:schemeClr>
                      </a:gs>
                      <a:gs pos="75000">
                        <a:schemeClr val="accent6">
                          <a:tint val="93000"/>
                          <a:satMod val="120000"/>
                        </a:schemeClr>
                      </a:gs>
                      <a:gs pos="100000">
                        <a:schemeClr val="accent6">
                          <a:tint val="90000"/>
                          <a:satMod val="120000"/>
                        </a:schemeClr>
                      </a:gs>
                    </a:gsLst>
                    <a:lin ang="5400000"/>
                  </a:gradFill>
                  <a:effectLst>
                    <a:outerShdw blurRad="80000" dist="40000" dir="5040000" algn="tl">
                      <a:srgbClr val="000000">
                        <a:alpha val="30000"/>
                      </a:srgbClr>
                    </a:outerShdw>
                  </a:effectLst>
                </a:rPr>
                <a:t>Improver</a:t>
              </a:r>
              <a:endParaRPr lang="en-US" sz="5400" b="1" cap="none" spc="0" dirty="0">
                <a:ln w="11430"/>
                <a:gradFill>
                  <a:gsLst>
                    <a:gs pos="0">
                      <a:schemeClr val="accent6">
                        <a:tint val="90000"/>
                        <a:satMod val="120000"/>
                      </a:schemeClr>
                    </a:gs>
                    <a:gs pos="25000">
                      <a:schemeClr val="accent6">
                        <a:tint val="93000"/>
                        <a:satMod val="120000"/>
                      </a:schemeClr>
                    </a:gs>
                    <a:gs pos="50000">
                      <a:schemeClr val="accent6">
                        <a:shade val="89000"/>
                        <a:satMod val="110000"/>
                      </a:schemeClr>
                    </a:gs>
                    <a:gs pos="75000">
                      <a:schemeClr val="accent6">
                        <a:tint val="93000"/>
                        <a:satMod val="120000"/>
                      </a:schemeClr>
                    </a:gs>
                    <a:gs pos="100000">
                      <a:schemeClr val="accent6">
                        <a:tint val="90000"/>
                        <a:satMod val="120000"/>
                      </a:schemeClr>
                    </a:gs>
                  </a:gsLst>
                  <a:lin ang="5400000"/>
                </a:gra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</a:endParaRPr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2267744" y="2119565"/>
            <a:ext cx="66247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accent5">
                    <a:lumMod val="75000"/>
                  </a:schemeClr>
                </a:solidFill>
              </a:rPr>
              <a:t>Maximize the effectiveness of business operations</a:t>
            </a:r>
            <a:endParaRPr lang="en-US" sz="2400" b="1" dirty="0">
              <a:solidFill>
                <a:schemeClr val="accent5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2369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smtClean="0"/>
              <a:t>Our miss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o improve the way life sciences organizations conduct operations through innovation in technology and a strong focus on process improve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391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87877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smtClean="0"/>
              <a:t>Our solu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E-platform to improve collaboration and productivity </a:t>
            </a:r>
          </a:p>
          <a:p>
            <a:r>
              <a:rPr lang="en-US" dirty="0" smtClean="0"/>
              <a:t>Provide consultation to tackle your biggest issues concerning content management and compliance</a:t>
            </a:r>
          </a:p>
          <a:p>
            <a:r>
              <a:rPr lang="en-US" dirty="0" smtClean="0"/>
              <a:t>Customized IT solutions to meet your business needs</a:t>
            </a:r>
          </a:p>
        </p:txBody>
      </p:sp>
    </p:spTree>
    <p:extLst>
      <p:ext uri="{BB962C8B-B14F-4D97-AF65-F5344CB8AC3E}">
        <p14:creationId xmlns:p14="http://schemas.microsoft.com/office/powerpoint/2010/main" val="4253381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smtClean="0"/>
              <a:t>Case one in clinical oper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Every information about trial management shared in one platform</a:t>
            </a:r>
          </a:p>
          <a:p>
            <a:r>
              <a:rPr lang="en-US" dirty="0" smtClean="0"/>
              <a:t>Timely remind the risks</a:t>
            </a:r>
          </a:p>
          <a:p>
            <a:r>
              <a:rPr lang="en-US" dirty="0" smtClean="0"/>
              <a:t>Automatically track the status</a:t>
            </a:r>
          </a:p>
          <a:p>
            <a:r>
              <a:rPr lang="en-US" dirty="0" smtClean="0"/>
              <a:t>Visualized </a:t>
            </a:r>
            <a:r>
              <a:rPr lang="en-US" dirty="0" err="1" smtClean="0"/>
              <a:t>inforgraphics</a:t>
            </a:r>
            <a:r>
              <a:rPr lang="en-US" dirty="0" smtClean="0"/>
              <a:t> to present the whole picture of trials</a:t>
            </a:r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2752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smtClean="0"/>
              <a:t>Our cultu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We embrace “Diversity and Inclusion” , we share common goals and visions</a:t>
            </a:r>
          </a:p>
          <a:p>
            <a:r>
              <a:rPr lang="en-US" dirty="0" smtClean="0"/>
              <a:t>Connecting innovative technology, ‘thinking out of box’, and practical experience to improve the operations is something we strongly believe i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4077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79512" y="2420888"/>
            <a:ext cx="864096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Baskerville Old Face" panose="02020602080505020303" pitchFamily="18" charset="0"/>
              </a:rPr>
              <a:t>Be your trusted partner to improve your business operations</a:t>
            </a:r>
            <a:endParaRPr lang="en-US" sz="3600" b="1" dirty="0">
              <a:latin typeface="Baskerville Old Face" panose="020206020805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3337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RPPTCOMPATIBLERD03" val="RXP"/>
  <p:tag name="VARPPTTYPE" val="RXP"/>
  <p:tag name="VARPPTLANG" val="RXPEnglish"/>
  <p:tag name="THINKCELLUNDODONOTDELETE" val="0"/>
  <p:tag name="VARPPTSLIDEFORMAT" val="RXP"/>
  <p:tag name="VARPPTCOMPATIBLE4" val="RXP"/>
  <p:tag name="VARSAVEMESSAGETIMESTAMP" val="RXP2016/9/2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26</TotalTime>
  <Words>136</Words>
  <Application>Microsoft Office PowerPoint</Application>
  <PresentationFormat>On-screen Show (4:3)</PresentationFormat>
  <Paragraphs>17</Paragraphs>
  <Slides>6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8" baseType="lpstr">
      <vt:lpstr>Office 主题</vt:lpstr>
      <vt:lpstr>think-cell Slide</vt:lpstr>
      <vt:lpstr>PowerPoint Presentation</vt:lpstr>
      <vt:lpstr>Our mission</vt:lpstr>
      <vt:lpstr>Our solutions</vt:lpstr>
      <vt:lpstr>Case one in clinical operation</vt:lpstr>
      <vt:lpstr>Our culture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ang, Tracy {MACZ~Shanghai}</dc:creator>
  <cp:lastModifiedBy>Wang, Tracy {MACZ~Shanghai}</cp:lastModifiedBy>
  <cp:revision>18</cp:revision>
  <dcterms:created xsi:type="dcterms:W3CDTF">2016-09-25T00:15:18Z</dcterms:created>
  <dcterms:modified xsi:type="dcterms:W3CDTF">2016-09-25T06:22:52Z</dcterms:modified>
</cp:coreProperties>
</file>